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42"/>
  </p:notesMasterIdLst>
  <p:sldIdLst>
    <p:sldId id="281" r:id="rId28"/>
    <p:sldId id="468" r:id="rId29"/>
    <p:sldId id="466" r:id="rId30"/>
    <p:sldId id="469" r:id="rId31"/>
    <p:sldId id="464" r:id="rId32"/>
    <p:sldId id="470" r:id="rId33"/>
    <p:sldId id="471" r:id="rId34"/>
    <p:sldId id="472" r:id="rId35"/>
    <p:sldId id="473" r:id="rId36"/>
    <p:sldId id="474" r:id="rId37"/>
    <p:sldId id="475" r:id="rId38"/>
    <p:sldId id="476" r:id="rId39"/>
    <p:sldId id="467" r:id="rId40"/>
    <p:sldId id="465"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68"/>
            <p14:sldId id="466"/>
          </p14:sldIdLst>
        </p14:section>
        <p14:section name="Jax Cloud UG" id="{36F96A46-FA5B-48D1-A472-55FF4F85D9EE}">
          <p14:sldIdLst>
            <p14:sldId id="469"/>
            <p14:sldId id="464"/>
          </p14:sldIdLst>
        </p14:section>
        <p14:section name="Logistics" id="{83FEF937-3B01-4A87-9186-948B0673855F}">
          <p14:sldIdLst>
            <p14:sldId id="470"/>
            <p14:sldId id="471"/>
            <p14:sldId id="472"/>
            <p14:sldId id="473"/>
            <p14:sldId id="474"/>
            <p14:sldId id="475"/>
            <p14:sldId id="476"/>
            <p14:sldId id="467"/>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87" d="100"/>
          <a:sy n="87" d="100"/>
        </p:scale>
        <p:origin x="4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3</a:t>
            </a:fld>
            <a:endParaRPr lang="en-US"/>
          </a:p>
        </p:txBody>
      </p:sp>
    </p:spTree>
    <p:extLst>
      <p:ext uri="{BB962C8B-B14F-4D97-AF65-F5344CB8AC3E}">
        <p14:creationId xmlns:p14="http://schemas.microsoft.com/office/powerpoint/2010/main" val="2265200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8/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6"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8/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0"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8/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9.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3.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David </a:t>
            </a:r>
            <a:r>
              <a:rPr lang="en-US" sz="3600" dirty="0" err="1"/>
              <a:t>Fekke</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0909" y="1884379"/>
            <a:ext cx="6544171" cy="3677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3403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1794" y="3399245"/>
            <a:ext cx="3808412"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2012859"/>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32</TotalTime>
  <Words>167</Words>
  <Application>Microsoft Office PowerPoint</Application>
  <PresentationFormat>Widescreen</PresentationFormat>
  <Paragraphs>32</Paragraphs>
  <Slides>14</Slides>
  <Notes>2</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4</vt:i4>
      </vt:variant>
    </vt:vector>
  </HeadingPairs>
  <TitlesOfParts>
    <vt:vector size="53"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Sponsors</vt:lpstr>
      <vt:lpstr>PowerPoint Presentation</vt:lpstr>
      <vt:lpstr>Jax Cloud User Group</vt:lpstr>
      <vt:lpstr>Join us on slack jaxcloudug.azurewebsites.net</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orem ipsum bacon</vt:lpstr>
      <vt:lpstr>Speaker: Mike Potts  Lorem ipsum bacon</vt:lpstr>
      <vt:lpstr>Speaker: Ben Stegink  Lorem ipsum bacon</vt:lpstr>
      <vt:lpstr>Speaker: David Fekke  Lorem ipsum bacon</vt:lpstr>
      <vt:lpstr>Speaker: Mike Potts  Lorem ipsum bacon</vt:lpstr>
      <vt:lpstr>Meetup after at BW3s The Avenues, 10300 Southside Blvd, Jacksonville, FL 32256</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78</cp:revision>
  <dcterms:modified xsi:type="dcterms:W3CDTF">2017-04-18T16:50:15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